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1"/>
  </p:sldMasterIdLst>
  <p:notesMasterIdLst>
    <p:notesMasterId r:id="rId13"/>
  </p:notesMasterIdLst>
  <p:handoutMasterIdLst>
    <p:handoutMasterId r:id="rId14"/>
  </p:handoutMasterIdLst>
  <p:sldIdLst>
    <p:sldId id="258" r:id="rId2"/>
    <p:sldId id="256" r:id="rId3"/>
    <p:sldId id="257" r:id="rId4"/>
    <p:sldId id="259" r:id="rId5"/>
    <p:sldId id="260" r:id="rId6"/>
    <p:sldId id="261" r:id="rId7"/>
    <p:sldId id="262" r:id="rId8"/>
    <p:sldId id="263" r:id="rId9"/>
    <p:sldId id="266" r:id="rId10"/>
    <p:sldId id="267" r:id="rId11"/>
    <p:sldId id="268" r:id="rId12"/>
  </p:sldIdLst>
  <p:sldSz cx="12192000" cy="6858000"/>
  <p:notesSz cx="6797675" cy="9926638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A9737EA3-B381-47A9-BFD9-730B4836F066}">
          <p14:sldIdLst>
            <p14:sldId id="258"/>
            <p14:sldId id="256"/>
            <p14:sldId id="257"/>
            <p14:sldId id="259"/>
            <p14:sldId id="260"/>
            <p14:sldId id="261"/>
            <p14:sldId id="262"/>
          </p14:sldIdLst>
        </p14:section>
        <p14:section name="Раздел без заголовка" id="{74604D6F-8683-4E50-8FB7-3EFB85D12A43}">
          <p14:sldIdLst>
            <p14:sldId id="263"/>
            <p14:sldId id="266"/>
            <p14:sldId id="267"/>
            <p14:sldId id="26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BBBAC6"/>
    <a:srgbClr val="DDF9B8"/>
    <a:srgbClr val="5D5B6F"/>
    <a:srgbClr val="14CE9F"/>
    <a:srgbClr val="F2F2F2"/>
    <a:srgbClr val="F6F6F9"/>
    <a:srgbClr val="C0BAA7"/>
    <a:srgbClr val="000000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59" autoAdjust="0"/>
    <p:restoredTop sz="95604" autoAdjust="0"/>
  </p:normalViewPr>
  <p:slideViewPr>
    <p:cSldViewPr snapToGrid="0" showGuides="1">
      <p:cViewPr varScale="1">
        <p:scale>
          <a:sx n="111" d="100"/>
          <a:sy n="111" d="100"/>
        </p:scale>
        <p:origin x="64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82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DE9C85-32D4-48FF-BC3E-45B98C8000D8}" type="datetimeFigureOut">
              <a:rPr lang="en-US" smtClean="0"/>
              <a:t>4/10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615B4-4B49-479A-B3DB-7A4B6BBFE4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5861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6CC7CF-3AA2-47FD-950C-99CD1E133DEE}" type="datetimeFigureOut">
              <a:rPr lang="en-US" smtClean="0"/>
              <a:t>4/10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E1883C-CCF7-46E7-BBED-6C032733D9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532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9578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57358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5584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1850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3219533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2119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dirty="0"/>
              <a:t>4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8137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0805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70813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 flipH="1">
            <a:off x="1198880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72501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60767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000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66222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536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18034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45977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6352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9726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gradFill>
            <a:gsLst>
              <a:gs pos="92000">
                <a:srgbClr val="14CE9F"/>
              </a:gs>
              <a:gs pos="2000">
                <a:srgbClr val="DDF9B8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58813" y="660400"/>
            <a:ext cx="4281487" cy="546100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3891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2943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dirty="0"/>
              <a:t>4/1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6134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10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3831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10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3389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10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2432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/>
              <a:t>4/1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9217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1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20478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4/1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graphicFrame>
        <p:nvGraphicFramePr>
          <p:cNvPr id="18" name="Object 6" hidden="1">
            <a:extLst>
              <a:ext uri="{FF2B5EF4-FFF2-40B4-BE49-F238E27FC236}">
                <a16:creationId xmlns:a16="http://schemas.microsoft.com/office/drawing/2014/main" id="{93882F46-66A3-4163-84EC-B7FF081930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966751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34408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49" r:id="rId18"/>
    <p:sldLayoutId id="2147483662" r:id="rId19"/>
    <p:sldLayoutId id="2147483660" r:id="rId20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6" userDrawn="1">
          <p15:clr>
            <a:srgbClr val="F26B43"/>
          </p15:clr>
        </p15:guide>
        <p15:guide id="2" pos="415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2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932077" y="1768890"/>
            <a:ext cx="10106934" cy="2431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50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508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4000" b="1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вук как физическое явление</a:t>
            </a:r>
            <a:endParaRPr kumimoji="0" lang="ru-RU" altLang="ru-RU" sz="4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втор: </a:t>
            </a:r>
            <a:r>
              <a:rPr kumimoji="0" lang="ru-RU" altLang="ru-RU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ваничкин</a:t>
            </a:r>
            <a:r>
              <a:rPr kumimoji="0" lang="ru-RU" altLang="ru-RU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Никита </a:t>
            </a:r>
            <a:r>
              <a:rPr kumimoji="0" lang="ru-RU" altLang="ru-RU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</a:p>
          <a:p>
            <a:pPr marL="0" marR="0" lvl="0" indent="4508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БОУ «Гимназия №6» г. Брянска 11а класс</a:t>
            </a:r>
          </a:p>
          <a:p>
            <a:pPr marL="0" marR="0" lvl="0" indent="4508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учный руководитель: </a:t>
            </a:r>
            <a:r>
              <a:rPr kumimoji="0" lang="ru-RU" altLang="ru-RU" sz="2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оготова</a:t>
            </a:r>
            <a:r>
              <a:rPr kumimoji="0" lang="ru-RU" altLang="ru-RU" sz="2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Наталия Владимировна</a:t>
            </a:r>
            <a:endParaRPr kumimoji="0" lang="ru-RU" altLang="ru-RU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508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читель физики</a:t>
            </a:r>
          </a:p>
        </p:txBody>
      </p:sp>
    </p:spTree>
    <p:extLst>
      <p:ext uri="{BB962C8B-B14F-4D97-AF65-F5344CB8AC3E}">
        <p14:creationId xmlns:p14="http://schemas.microsoft.com/office/powerpoint/2010/main" val="11288218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15311" y="436207"/>
            <a:ext cx="1161393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льтразвуком </a:t>
            </a:r>
            <a:r>
              <a:rPr lang="ru-RU" sz="3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зывают</a:t>
            </a:r>
            <a:r>
              <a:rPr lang="ru-RU" sz="3600" b="1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3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вуковые волны колеблющиеся свыше 20 000 Гц, распространяющиеся как в воздухе, так и в твердых средах.</a:t>
            </a:r>
          </a:p>
          <a:p>
            <a:r>
              <a:rPr lang="ru-RU" sz="3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-за больших частот колебания, окружающая среда нагревается вследствие поглощения ею выделяемой ультразвуком энергии.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9325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09904" y="159209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дукт Труба Рубенса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56553" y="1574461"/>
            <a:ext cx="11456275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руба заполнена горючим газом, так что просачивающийся через отверстия газ горит. Если используется постоянная частота, то в пределах трубы может сформироваться стоячая волна. Когда динамик включен, в трубе формируются области повышенного и пониженного давления. Там, где благодаря звуковым волнам находится область повышенного давления, через отверстия просачивается больше газа и высота пламени больше. Благодаря этому можно измерить длину волны просто измеряя рулеткой расстояние между пиками.</a:t>
            </a:r>
          </a:p>
          <a:p>
            <a:endParaRPr lang="ru-RU" sz="1400" dirty="0"/>
          </a:p>
          <a:p>
            <a:endParaRPr lang="ru-RU" sz="1400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08268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40113" y="0"/>
            <a:ext cx="5288627" cy="9050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r>
              <a:rPr lang="ru-RU" sz="40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ктуальность работы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40113" y="905056"/>
            <a:ext cx="1122505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Звук – неотъемлемая часть жизни большинства людей и является частью эволюции и мировосприятия без которого окружающая нас среда была бы гораздо более скучным и опасным местом</a:t>
            </a:r>
            <a:endParaRPr lang="ru-RU" sz="36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24500" y="3074494"/>
            <a:ext cx="1160504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</a:pPr>
            <a:r>
              <a:rPr lang="ru-RU" sz="4000" b="1" dirty="0">
                <a:solidFill>
                  <a:srgbClr val="2F5496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40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ель работы и Задач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40113" y="4090157"/>
            <a:ext cx="1160504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учение свойств звука.</a:t>
            </a:r>
          </a:p>
          <a:p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глядно показать при помощи Трубы Рубенса основные характеристики звука.</a:t>
            </a:r>
          </a:p>
        </p:txBody>
      </p:sp>
    </p:spTree>
    <p:extLst>
      <p:ext uri="{BB962C8B-B14F-4D97-AF65-F5344CB8AC3E}">
        <p14:creationId xmlns:p14="http://schemas.microsoft.com/office/powerpoint/2010/main" val="24916886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336538" y="1459362"/>
            <a:ext cx="93664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учение литературы и тематических сайтов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36538" y="652966"/>
            <a:ext cx="1185546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тоды исследования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233021" y="2666977"/>
            <a:ext cx="547079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мет исследования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36538" y="4568176"/>
            <a:ext cx="190154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ъект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36538" y="5388604"/>
            <a:ext cx="369479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руба Рубенс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36538" y="3547209"/>
            <a:ext cx="3694794" cy="8345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вуковые явления</a:t>
            </a:r>
            <a:endParaRPr lang="ru-RU" sz="3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70223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58902" y="164803"/>
            <a:ext cx="116862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0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вук как физическое явление</a:t>
            </a:r>
            <a:endParaRPr lang="ru-RU" sz="4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58902" y="872689"/>
            <a:ext cx="8722340" cy="67403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Звук, который мы слышим, представляет собой механическую волну, которая распространяется в упругой среде. </a:t>
            </a:r>
          </a:p>
          <a:p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режде чем услышать звук его надо создать.</a:t>
            </a:r>
          </a:p>
          <a:p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амый примитивный пример источника звука является металлическая линейка прикрепленная неподвижно.</a:t>
            </a:r>
          </a:p>
          <a:p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вук измеряется в Герцах, к примеру </a:t>
            </a:r>
          </a:p>
          <a:p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Гц = 1 колебание в секунду.</a:t>
            </a:r>
          </a:p>
          <a:p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 descr="https://dzodzo.ru/wp-content/uploads/zvkovye-volny-1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1242" y="1671143"/>
            <a:ext cx="2692609" cy="37311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74765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8675" y="190740"/>
            <a:ext cx="1201332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воздухе при температуре 0°С и нормальном атмосферном давлении звук распространяется со скоростью 330 м/с, в морской воде – около 1500 м/с, в некоторых металлах скорость звука достигает 7000 м/с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78675" y="2499064"/>
            <a:ext cx="682464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Различимые качества звука</a:t>
            </a:r>
            <a:endParaRPr lang="ru-RU" sz="40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78675" y="3206950"/>
            <a:ext cx="751489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ервое различимое качество звука </a:t>
            </a:r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- это его громкость.</a:t>
            </a:r>
          </a:p>
          <a:p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Человеку более громкими кажутся те звуки, у которых амплитуда колебаний звуковой волны больше.</a:t>
            </a:r>
            <a:endParaRPr lang="ru-RU" sz="3600" dirty="0"/>
          </a:p>
        </p:txBody>
      </p:sp>
      <p:pic>
        <p:nvPicPr>
          <p:cNvPr id="9" name="Рисунок 8" descr="https://nopoint.ru/wp-content/uploads/2017/11/mekhanicheskie-kolebaniya-i-volny20-1024x619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3572" y="3206950"/>
            <a:ext cx="3983420" cy="249650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939536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73573" y="0"/>
            <a:ext cx="11792606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36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торым различимым качеством звука </a:t>
            </a:r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является высота его тона.</a:t>
            </a:r>
          </a:p>
          <a:p>
            <a:pPr algn="just">
              <a:spcAft>
                <a:spcPts val="0"/>
              </a:spcAft>
            </a:pPr>
            <a:endParaRPr lang="ru-RU" sz="3600" dirty="0"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вук, соответствующий строго определенной частоте колебаний, называется тоном.</a:t>
            </a:r>
          </a:p>
          <a:p>
            <a:pPr algn="just">
              <a:spcAft>
                <a:spcPts val="0"/>
              </a:spcAft>
            </a:pPr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он звука определяется </a:t>
            </a:r>
            <a:r>
              <a:rPr lang="ru-RU" sz="3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астотой звуковой волны.</a:t>
            </a:r>
          </a:p>
          <a:p>
            <a:pPr algn="just">
              <a:spcAft>
                <a:spcPts val="0"/>
              </a:spcAft>
            </a:pPr>
            <a:r>
              <a:rPr lang="ru-RU" sz="3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ем больше частота звука, тем более высоким является тон</a:t>
            </a:r>
          </a:p>
          <a:p>
            <a:pPr algn="just">
              <a:spcAft>
                <a:spcPts val="0"/>
              </a:spcAft>
            </a:pPr>
            <a:r>
              <a:rPr lang="ru-RU" sz="3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астота определяется по формуле 1 / </a:t>
            </a:r>
            <a:r>
              <a:rPr lang="en-US" sz="3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ru-RU" sz="3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3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ru-RU" sz="3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– период).</a:t>
            </a:r>
            <a:endParaRPr lang="ru-RU" sz="2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7469" y="4824332"/>
            <a:ext cx="1179260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ретье различимое качество звука – </a:t>
            </a:r>
            <a:r>
              <a:rPr lang="ru-RU" sz="3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это его тембр.</a:t>
            </a:r>
          </a:p>
          <a:p>
            <a:r>
              <a:rPr lang="ru-RU" sz="3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 тембру мы можем различать звуки из разных источников.</a:t>
            </a:r>
          </a:p>
        </p:txBody>
      </p:sp>
    </p:spTree>
    <p:extLst>
      <p:ext uri="{BB962C8B-B14F-4D97-AF65-F5344CB8AC3E}">
        <p14:creationId xmlns:p14="http://schemas.microsoft.com/office/powerpoint/2010/main" val="9874590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03459" y="988303"/>
            <a:ext cx="11736291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Звуковые волны могут распространяться в воздухе, газах, жидкостях и твердых телах.</a:t>
            </a:r>
          </a:p>
          <a:p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В безвоздушном пространстве волны не возникают.</a:t>
            </a:r>
          </a:p>
          <a:p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ела с низкой плотностью, обладающие упругостью, содержащие звукоизолирующие слои (например, прослойку воздуха) проводят звук в меньшей степени.</a:t>
            </a:r>
            <a:endParaRPr lang="ru-RU" sz="36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03460" y="280417"/>
            <a:ext cx="1173629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Распространение звуковых волн</a:t>
            </a:r>
            <a:endParaRPr lang="ru-RU" sz="4000" dirty="0"/>
          </a:p>
        </p:txBody>
      </p:sp>
    </p:spTree>
    <p:extLst>
      <p:ext uri="{BB962C8B-B14F-4D97-AF65-F5344CB8AC3E}">
        <p14:creationId xmlns:p14="http://schemas.microsoft.com/office/powerpoint/2010/main" val="35221832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41435" y="199696"/>
            <a:ext cx="11508828" cy="67403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Скорость распространения звука в воздухе </a:t>
            </a:r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впервые была измерена в 17 веке Миланской академией наук</a:t>
            </a:r>
          </a:p>
          <a:p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На одном из холмов установили пушку, а на другом расположился наблюдательный пункт</a:t>
            </a:r>
          </a:p>
          <a:p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Время засекли и в момент выстрела, который  определили по вспышке. И в момент приема звука вычислили скорость.</a:t>
            </a:r>
          </a:p>
          <a:p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Она оказалась равной 330 метров в секунду.</a:t>
            </a:r>
          </a:p>
          <a:p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В газах скорость звука прямо пропорциональна температуре.</a:t>
            </a:r>
          </a:p>
          <a:p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Например, при 20°С скорость звука в воздухе равна 343 м/с, при 60°С — 366 м/с, при 100°С — 387 м/с.</a:t>
            </a:r>
            <a:endParaRPr lang="ru-RU" sz="3600" dirty="0"/>
          </a:p>
        </p:txBody>
      </p:sp>
    </p:spTree>
    <p:extLst>
      <p:ext uri="{BB962C8B-B14F-4D97-AF65-F5344CB8AC3E}">
        <p14:creationId xmlns:p14="http://schemas.microsoft.com/office/powerpoint/2010/main" val="36593215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41738" y="340933"/>
            <a:ext cx="11740056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нфразвуком </a:t>
            </a:r>
            <a:r>
              <a:rPr lang="ru-RU" sz="36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зывают звуковые волны, не воспринимаемые человеком на слух. Это колебания, частоты которых меньше 16–20 Гц. Источники инфразвука– землетрясения, вулканические извержения, разряды молний, магнитные </a:t>
            </a:r>
            <a:r>
              <a:rPr lang="ru-RU" sz="36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ури, микросейсмические колебания поверхности Земли. </a:t>
            </a:r>
            <a:r>
              <a:rPr lang="ru-RU" sz="3600" dirty="0">
                <a:solidFill>
                  <a:srgbClr val="202122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нфразвук, образующийся в море, называют одной из возможных причин нахождения судов, покинутых экипажем.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00590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Аспект">
  <a:themeElements>
    <a:clrScheme name="Оранжевый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Аспект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Аспект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3356</TotalTime>
  <Words>594</Words>
  <Application>Microsoft Office PowerPoint</Application>
  <PresentationFormat>Широкоэкранный</PresentationFormat>
  <Paragraphs>50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8" baseType="lpstr">
      <vt:lpstr>Arial</vt:lpstr>
      <vt:lpstr>Calibri</vt:lpstr>
      <vt:lpstr>Times New Roman</vt:lpstr>
      <vt:lpstr>Trebuchet MS</vt:lpstr>
      <vt:lpstr>Wingdings 3</vt:lpstr>
      <vt:lpstr>Аспект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gorzata Boguslawska</dc:creator>
  <cp:lastModifiedBy>Анастасия Иваничкина</cp:lastModifiedBy>
  <cp:revision>196</cp:revision>
  <cp:lastPrinted>2024-04-10T17:46:23Z</cp:lastPrinted>
  <dcterms:created xsi:type="dcterms:W3CDTF">2017-06-30T07:56:32Z</dcterms:created>
  <dcterms:modified xsi:type="dcterms:W3CDTF">2024-04-10T18:24:57Z</dcterms:modified>
</cp:coreProperties>
</file>